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3447" autoAdjust="0"/>
  </p:normalViewPr>
  <p:slideViewPr>
    <p:cSldViewPr snapToGrid="0">
      <p:cViewPr varScale="1">
        <p:scale>
          <a:sx n="104" d="100"/>
          <a:sy n="104" d="100"/>
        </p:scale>
        <p:origin x="62" y="165"/>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9/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9/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chal Shankar Gupt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9-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a:p>
            <a:pPr marL="0" indent="0">
              <a:buNone/>
            </a:pPr>
            <a:endParaRPr lang="en-US" dirty="0"/>
          </a:p>
          <a:p>
            <a:pPr marL="0" indent="0">
              <a:buNone/>
            </a:pPr>
            <a:r>
              <a:rPr lang="en-US" dirty="0"/>
              <a:t>Shell likely uses Chef to automate infrastructure management, ensuring consistent deployment of services like Kubernetes across its global operations. This helps standardize processes and simplify the management of complex systems.</a:t>
            </a:r>
          </a:p>
          <a:p>
            <a:pPr marL="0" indent="0">
              <a:buNone/>
            </a:pPr>
            <a:r>
              <a:rPr lang="en-US" dirty="0"/>
              <a:t>By automating tasks with Chef, Shell can reduce manual effort, decrease errors, and accelerate deployment times. This enhances operational efficiency, improves scalability, and allows Shell to focus on innovation and optimizing its energy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F4037E6D-519A-23E7-3D97-206B92EA501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826365" y="2632754"/>
            <a:ext cx="4499574" cy="2532718"/>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I encountered issues when installing Kubernetes due to version mismatches and dependency conflicts. These problems made the setup process time-consuming and complicated, requiring manual troubleshooting to resolv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E60E1F49-FCAD-F9F8-A52C-9F7BCFEC711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077645" y="2043077"/>
            <a:ext cx="3997014" cy="3712071"/>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I had difficulty connecting Nginx to the Prometheus dashboard because Nginx no longer supports direct integration with Prometheus. This required relying on third-party plugins, adding extra steps and complexity to the monitoring setup.</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B4AEA15D-607B-579E-2FB1-DC1E577C2C2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2416044"/>
            <a:ext cx="5349007" cy="294424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dirty="0"/>
              <a:t>I struggled with automating Kubernetes pod creation using Chef, as Chef couldn't handle the dynamic values needed from the output of previous commands, making it challenging to fully automate the process without manual interven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Graphic 7">
            <a:extLst>
              <a:ext uri="{FF2B5EF4-FFF2-40B4-BE49-F238E27FC236}">
                <a16:creationId xmlns:a16="http://schemas.microsoft.com/office/drawing/2014/main" id="{D9D24399-7C88-F497-C4E2-32CBCEC71C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71152" y="2341775"/>
            <a:ext cx="3810000" cy="3114675"/>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udy Kubernetes version compatibility and dependencies. Explore third-party plugins for Nginx and Prometheus integration. Research Chef’s capabilities for automating Kubernetes pod creation.</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rt immediately and focus on researching best practices for Kubernetes installation, testing third-party plugins for Nginx-Prometheus, and exploring Chef’s documentation for automation solution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Comfortable navigating ServiceNow and managing tickets efficiently, improved understanding of AWS network configurations, and confident in setting up secure connections between Azure VM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just">
              <a:buFont typeface="Arial" panose="020B0604020202020204" pitchFamily="34" charset="0"/>
              <a:buNone/>
            </a:pPr>
            <a:r>
              <a:rPr lang="en-US" sz="2000" dirty="0"/>
              <a:t>On the last day, we did our case study project, for that we deployed a flask app using Docker Kubernetes and automated the workflow using Chef. Then we presented our work to others.  This was incredibly challenging, but fun and engaging, making it a truly interesting experienc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EC71B7E4-1EB0-6917-1135-8B562E4D24E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94117" y="2472937"/>
            <a:ext cx="5355688" cy="3058001"/>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This week focused on getting hands-on with Docker, Kubernetes, Prometheus, Grafana, ad Chef.</a:t>
            </a:r>
          </a:p>
          <a:p>
            <a:pPr>
              <a:lnSpc>
                <a:spcPct val="100000"/>
              </a:lnSpc>
            </a:pPr>
            <a:r>
              <a:rPr lang="en-US" sz="1800" dirty="0"/>
              <a:t>This week marks the end of our bootcamp, we will be joining our teams from next week.</a:t>
            </a:r>
          </a:p>
          <a:p>
            <a:pPr>
              <a:lnSpc>
                <a:spcPct val="100000"/>
              </a:lnSpc>
            </a:pPr>
            <a:r>
              <a:rPr lang="en-US" sz="1800" dirty="0"/>
              <a:t>The tools like Docker and Kubernetes are commonly used in my department and will surely help me in my work.</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not afraid of storms for I am learning how to sail my ship.”</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DB36B96A-EC93-735D-9645-AA39B8B5A2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5713" y="2135806"/>
            <a:ext cx="5340880" cy="3468103"/>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dirty="0"/>
              <a:t>I learned how to set up Docker, create a container image, and run it, as well as how to install Kubernetes on Linux. I also learned to create a control plane and a worker node using two virtual machines, effectively managing containerized applications.</a:t>
            </a:r>
          </a:p>
          <a:p>
            <a:pPr algn="just"/>
            <a:r>
              <a:rPr lang="en-US" dirty="0"/>
              <a:t>Understanding Docker and Kubernetes provides the foundation for deploying, scaling, and managing containerized applications efficiently, enabling greater flexibility in software deployment and resource management.</a:t>
            </a:r>
          </a:p>
          <a:p>
            <a:pPr algn="just"/>
            <a:r>
              <a:rPr lang="en-US" dirty="0"/>
              <a:t>In the energy sector, Shell can use Docker and Kubernetes to streamline the deployment of applications and microservices across global infrastructure. These technologies allow for rapid scaling, better resource optimization, and faster response times, which are essential for handling the complexity of energy oper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B8C726BA-5600-798E-EBFD-F0E1A6DF113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93789" y="2442604"/>
            <a:ext cx="5356017" cy="2913017"/>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dirty="0"/>
              <a:t>I learned how to set up Prometheus and Grafana using Docker images, export Nginx metrics with the Nginx metrics exporter, and create a monitoring dashboard in Prometheus to track Nginx server performance.</a:t>
            </a:r>
          </a:p>
          <a:p>
            <a:pPr algn="just"/>
            <a:r>
              <a:rPr lang="en-US" dirty="0"/>
              <a:t>Prometheus and Grafana are powerful tools for monitoring and visualizing metrics, providing real-time insights into system performance and helping to identify issues before they affect operations.</a:t>
            </a:r>
          </a:p>
          <a:p>
            <a:pPr algn="just"/>
            <a:r>
              <a:rPr lang="en-US" dirty="0"/>
              <a:t>In the energy sector, Shell can use Prometheus and Grafana to monitor infrastructure performance across various sites, ensuring systems run smoothly. This enables proactive identification of potential issues, improves system uptime, and enhances the overall efficiency of critical operation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F9A6DE7-91E9-29D1-ACDD-66860E2E23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114982"/>
            <a:ext cx="5352392" cy="356826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dirty="0"/>
              <a:t>I learned how to install and use Chef to automate infrastructure tasks, including creating repositories, cookbooks, and recipes, and fully automating Kubernetes installation. </a:t>
            </a:r>
          </a:p>
          <a:p>
            <a:pPr algn="just"/>
            <a:r>
              <a:rPr lang="en-US" dirty="0"/>
              <a:t>Chef is a powerful automation tool that simplifies infrastructure management, enabling the automated deployment of complex systems like Kubernetes, which enhances operational efficiency and reduces manual intervention.</a:t>
            </a:r>
          </a:p>
          <a:p>
            <a:pPr algn="just"/>
            <a:r>
              <a:rPr lang="en-US" dirty="0"/>
              <a:t>In the energy sector, Shell can use Chef to automate the deployment and configuration of infrastructure, ensuring consistency across environments. This streamlines operations, reduces human error, and enhances the speed and efficiency of deploying critical systems like Kubernetes in its global infrastructure.</a:t>
            </a:r>
            <a:endParaRPr lang="en-US" sz="18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C92D5363-9601-D389-12E8-2B46426A1EF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62578" y="2568728"/>
            <a:ext cx="5227147" cy="2744252"/>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dirty="0"/>
          </a:p>
          <a:p>
            <a:pPr marL="0" indent="0" algn="just">
              <a:buNone/>
            </a:pPr>
            <a:endParaRPr lang="en-US" dirty="0"/>
          </a:p>
          <a:p>
            <a:pPr marL="0" indent="0" algn="just">
              <a:buNone/>
            </a:pPr>
            <a:r>
              <a:rPr lang="en-US" dirty="0"/>
              <a:t>Shell likely uses Docker and Kubernetes to manage and orchestrate containerized applications across its infrastructure. By using Kubernetes clusters, Shell can ensure efficient scaling and deployment of critical applications in various regions.</a:t>
            </a:r>
          </a:p>
          <a:p>
            <a:pPr marL="0" indent="0" algn="just">
              <a:buNone/>
            </a:pPr>
            <a:r>
              <a:rPr lang="en-US" dirty="0"/>
              <a:t>These technologies help Shell maintain high availability, reduce downtime, and optimize resource use. With Docker and Kubernetes, Shell can rapidly deploy updates and new services, ensuring smoother operations and faster innovation in the energy sector.</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a:extLst>
              <a:ext uri="{FF2B5EF4-FFF2-40B4-BE49-F238E27FC236}">
                <a16:creationId xmlns:a16="http://schemas.microsoft.com/office/drawing/2014/main" id="{F96D9035-BC38-0A40-47E9-A33E1CC7827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33937" y="2514152"/>
            <a:ext cx="5284430" cy="2769922"/>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p>
          <a:p>
            <a:pPr marL="0" indent="0" algn="just">
              <a:buNone/>
            </a:pPr>
            <a:endParaRPr lang="en-US" dirty="0"/>
          </a:p>
          <a:p>
            <a:pPr marL="0" indent="0" algn="just">
              <a:buNone/>
            </a:pPr>
            <a:r>
              <a:rPr lang="en-US" dirty="0"/>
              <a:t>Shell likely uses Prometheus and Grafana to monitor the health and performance of its global IT infrastructure and energy systems. By exporting metrics from various services and visualizing them through dashboards, Shell can gain real-time insights into its operations.</a:t>
            </a:r>
          </a:p>
          <a:p>
            <a:pPr marL="0" indent="0" algn="just">
              <a:buNone/>
            </a:pPr>
            <a:r>
              <a:rPr lang="en-US" dirty="0"/>
              <a:t>These monitoring tools allow Shell to detect and address issues quickly, ensuring continuous system availability and optimizing performance. This proactive monitoring reduces downtime, supports energy efficiency, and helps Shell maintain operational excellence across its global infrastructur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9D201CAB-9CC3-662E-5B5D-DF15542991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0799" y="2393507"/>
            <a:ext cx="5338059" cy="3011212"/>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471</TotalTime>
  <Words>1005</Words>
  <Application>Microsoft Office PowerPoint</Application>
  <PresentationFormat>Widescreen</PresentationFormat>
  <Paragraphs>70</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chal Gupta</cp:lastModifiedBy>
  <cp:revision>509</cp:revision>
  <dcterms:created xsi:type="dcterms:W3CDTF">2022-01-18T12:35:56Z</dcterms:created>
  <dcterms:modified xsi:type="dcterms:W3CDTF">2024-09-19T18: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